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660" r:id="rId2"/>
  </p:sldMasterIdLst>
  <p:notesMasterIdLst>
    <p:notesMasterId r:id="rId11"/>
  </p:notesMasterIdLst>
  <p:sldIdLst>
    <p:sldId id="257" r:id="rId3"/>
    <p:sldId id="290" r:id="rId4"/>
    <p:sldId id="292" r:id="rId5"/>
    <p:sldId id="293" r:id="rId6"/>
    <p:sldId id="296" r:id="rId7"/>
    <p:sldId id="297" r:id="rId8"/>
    <p:sldId id="295" r:id="rId9"/>
    <p:sldId id="286" r:id="rId10"/>
  </p:sldIdLst>
  <p:sldSz cx="12192000" cy="6858000"/>
  <p:notesSz cx="6858000" cy="9144000"/>
  <p:embeddedFontLs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Helvetica Neue" panose="020B0604020202020204" charset="0"/>
      <p:regular r:id="rId16"/>
      <p:bold r:id="rId17"/>
      <p:italic r:id="rId18"/>
      <p:boldItalic r:id="rId19"/>
    </p:embeddedFont>
    <p:embeddedFont>
      <p:font typeface="Poppins" panose="00000500000000000000" pitchFamily="2" charset="0"/>
      <p:regular r:id="rId20"/>
      <p:bold r:id="rId21"/>
      <p:italic r:id="rId22"/>
      <p:boldItalic r:id="rId23"/>
    </p:embeddedFont>
    <p:embeddedFont>
      <p:font typeface="Sofia" panose="020B0604020202020204" charset="0"/>
      <p:regular r:id="rId24"/>
      <p:bold r:id="rId25"/>
      <p:italic r:id="rId26"/>
    </p:embeddedFont>
  </p:embeddedFontLst>
  <p:custDataLst>
    <p:tags r:id="rId2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9" roundtripDataSignature="AMtx7mhA2EHEGTwJEagQjan2jW9RlcbME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8C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33A1BF-E4B2-4529-B224-EB839E36BA9A}" v="14" dt="2023-06-28T09:56:46.3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font" Target="fonts/font15.fntdata"/><Relationship Id="rId39" Type="http://customschemas.google.com/relationships/presentationmetadata" Target="metadata"/><Relationship Id="rId21" Type="http://schemas.openxmlformats.org/officeDocument/2006/relationships/font" Target="fonts/font10.fntdata"/><Relationship Id="rId42" Type="http://schemas.openxmlformats.org/officeDocument/2006/relationships/theme" Target="theme/theme1.xml"/><Relationship Id="rId47" Type="http://schemas.openxmlformats.org/officeDocument/2006/relationships/customXml" Target="../customXml/item2.xml"/><Relationship Id="rId7" Type="http://schemas.openxmlformats.org/officeDocument/2006/relationships/slide" Target="slides/slide5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font" Target="fonts/font14.fntdata"/><Relationship Id="rId46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24" Type="http://schemas.openxmlformats.org/officeDocument/2006/relationships/font" Target="fonts/font13.fntdata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font" Target="fonts/font4.fntdata"/><Relationship Id="rId23" Type="http://schemas.openxmlformats.org/officeDocument/2006/relationships/font" Target="fonts/font12.fntdata"/><Relationship Id="rId10" Type="http://schemas.openxmlformats.org/officeDocument/2006/relationships/slide" Target="slides/slide8.xml"/><Relationship Id="rId19" Type="http://schemas.openxmlformats.org/officeDocument/2006/relationships/font" Target="fonts/font8.fntdata"/><Relationship Id="rId44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3.fntdata"/><Relationship Id="rId22" Type="http://schemas.openxmlformats.org/officeDocument/2006/relationships/font" Target="fonts/font11.fntdata"/><Relationship Id="rId27" Type="http://schemas.openxmlformats.org/officeDocument/2006/relationships/tags" Target="tags/tag1.xml"/><Relationship Id="rId43" Type="http://schemas.openxmlformats.org/officeDocument/2006/relationships/tableStyles" Target="tableStyles.xml"/><Relationship Id="rId48" Type="http://schemas.openxmlformats.org/officeDocument/2006/relationships/customXml" Target="../customXml/item3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luisa Pes" userId="2e7d9df5-0575-4dcc-80e5-bc0bfe81a8c2" providerId="ADAL" clId="{E733A1BF-E4B2-4529-B224-EB839E36BA9A}"/>
    <pc:docChg chg="undo custSel addSld delSld modSld sldOrd">
      <pc:chgData name="Marialuisa Pes" userId="2e7d9df5-0575-4dcc-80e5-bc0bfe81a8c2" providerId="ADAL" clId="{E733A1BF-E4B2-4529-B224-EB839E36BA9A}" dt="2023-06-29T07:53:10.492" v="4226" actId="6549"/>
      <pc:docMkLst>
        <pc:docMk/>
      </pc:docMkLst>
      <pc:sldChg chg="modSp mod">
        <pc:chgData name="Marialuisa Pes" userId="2e7d9df5-0575-4dcc-80e5-bc0bfe81a8c2" providerId="ADAL" clId="{E733A1BF-E4B2-4529-B224-EB839E36BA9A}" dt="2023-06-27T14:10:31.139" v="90" actId="20577"/>
        <pc:sldMkLst>
          <pc:docMk/>
          <pc:sldMk cId="0" sldId="257"/>
        </pc:sldMkLst>
        <pc:spChg chg="mod">
          <ac:chgData name="Marialuisa Pes" userId="2e7d9df5-0575-4dcc-80e5-bc0bfe81a8c2" providerId="ADAL" clId="{E733A1BF-E4B2-4529-B224-EB839E36BA9A}" dt="2023-06-27T14:10:31.139" v="90" actId="20577"/>
          <ac:spMkLst>
            <pc:docMk/>
            <pc:sldMk cId="0" sldId="257"/>
            <ac:spMk id="144" creationId="{00000000-0000-0000-0000-000000000000}"/>
          </ac:spMkLst>
        </pc:spChg>
      </pc:sldChg>
      <pc:sldChg chg="modSp mod">
        <pc:chgData name="Marialuisa Pes" userId="2e7d9df5-0575-4dcc-80e5-bc0bfe81a8c2" providerId="ADAL" clId="{E733A1BF-E4B2-4529-B224-EB839E36BA9A}" dt="2023-06-27T16:13:58.797" v="1059" actId="20577"/>
        <pc:sldMkLst>
          <pc:docMk/>
          <pc:sldMk cId="1273150305" sldId="286"/>
        </pc:sldMkLst>
        <pc:spChg chg="mod">
          <ac:chgData name="Marialuisa Pes" userId="2e7d9df5-0575-4dcc-80e5-bc0bfe81a8c2" providerId="ADAL" clId="{E733A1BF-E4B2-4529-B224-EB839E36BA9A}" dt="2023-06-27T16:13:58.797" v="1059" actId="20577"/>
          <ac:spMkLst>
            <pc:docMk/>
            <pc:sldMk cId="1273150305" sldId="286"/>
            <ac:spMk id="2" creationId="{A6BADED0-2E0F-714E-7937-93ACB3EA33A9}"/>
          </ac:spMkLst>
        </pc:spChg>
      </pc:sldChg>
      <pc:sldChg chg="modSp mod">
        <pc:chgData name="Marialuisa Pes" userId="2e7d9df5-0575-4dcc-80e5-bc0bfe81a8c2" providerId="ADAL" clId="{E733A1BF-E4B2-4529-B224-EB839E36BA9A}" dt="2023-06-27T14:09:48.709" v="82" actId="108"/>
        <pc:sldMkLst>
          <pc:docMk/>
          <pc:sldMk cId="3534467196" sldId="290"/>
        </pc:sldMkLst>
        <pc:spChg chg="mod">
          <ac:chgData name="Marialuisa Pes" userId="2e7d9df5-0575-4dcc-80e5-bc0bfe81a8c2" providerId="ADAL" clId="{E733A1BF-E4B2-4529-B224-EB839E36BA9A}" dt="2023-06-27T14:09:48.709" v="82" actId="108"/>
          <ac:spMkLst>
            <pc:docMk/>
            <pc:sldMk cId="3534467196" sldId="290"/>
            <ac:spMk id="7" creationId="{EA671172-93DB-C147-9B07-132989C6BE13}"/>
          </ac:spMkLst>
        </pc:spChg>
      </pc:sldChg>
      <pc:sldChg chg="addSp delSp modSp mod">
        <pc:chgData name="Marialuisa Pes" userId="2e7d9df5-0575-4dcc-80e5-bc0bfe81a8c2" providerId="ADAL" clId="{E733A1BF-E4B2-4529-B224-EB839E36BA9A}" dt="2023-06-29T07:53:10.492" v="4226" actId="6549"/>
        <pc:sldMkLst>
          <pc:docMk/>
          <pc:sldMk cId="2871671113" sldId="292"/>
        </pc:sldMkLst>
        <pc:spChg chg="mod">
          <ac:chgData name="Marialuisa Pes" userId="2e7d9df5-0575-4dcc-80e5-bc0bfe81a8c2" providerId="ADAL" clId="{E733A1BF-E4B2-4529-B224-EB839E36BA9A}" dt="2023-06-29T07:53:10.492" v="4226" actId="6549"/>
          <ac:spMkLst>
            <pc:docMk/>
            <pc:sldMk cId="2871671113" sldId="292"/>
            <ac:spMk id="14" creationId="{4C1FB03A-ADC3-DF37-A342-E199EAE711AB}"/>
          </ac:spMkLst>
        </pc:spChg>
        <pc:picChg chg="del mod">
          <ac:chgData name="Marialuisa Pes" userId="2e7d9df5-0575-4dcc-80e5-bc0bfe81a8c2" providerId="ADAL" clId="{E733A1BF-E4B2-4529-B224-EB839E36BA9A}" dt="2023-06-27T14:10:46.042" v="91" actId="478"/>
          <ac:picMkLst>
            <pc:docMk/>
            <pc:sldMk cId="2871671113" sldId="292"/>
            <ac:picMk id="3" creationId="{8D57E64D-454C-9DF8-2FA4-EF5E28736EFA}"/>
          </ac:picMkLst>
        </pc:picChg>
        <pc:picChg chg="add del">
          <ac:chgData name="Marialuisa Pes" userId="2e7d9df5-0575-4dcc-80e5-bc0bfe81a8c2" providerId="ADAL" clId="{E733A1BF-E4B2-4529-B224-EB839E36BA9A}" dt="2023-06-27T14:16:44.189" v="94" actId="478"/>
          <ac:picMkLst>
            <pc:docMk/>
            <pc:sldMk cId="2871671113" sldId="292"/>
            <ac:picMk id="4" creationId="{03BEE81D-896A-5A37-9DE4-1FBAE95D8AA9}"/>
          </ac:picMkLst>
        </pc:picChg>
        <pc:picChg chg="add del mod">
          <ac:chgData name="Marialuisa Pes" userId="2e7d9df5-0575-4dcc-80e5-bc0bfe81a8c2" providerId="ADAL" clId="{E733A1BF-E4B2-4529-B224-EB839E36BA9A}" dt="2023-06-27T14:16:46.165" v="95" actId="478"/>
          <ac:picMkLst>
            <pc:docMk/>
            <pc:sldMk cId="2871671113" sldId="292"/>
            <ac:picMk id="5" creationId="{986507DC-7264-A093-9257-6EBD466D16A4}"/>
          </ac:picMkLst>
        </pc:picChg>
        <pc:picChg chg="add mod">
          <ac:chgData name="Marialuisa Pes" userId="2e7d9df5-0575-4dcc-80e5-bc0bfe81a8c2" providerId="ADAL" clId="{E733A1BF-E4B2-4529-B224-EB839E36BA9A}" dt="2023-06-27T14:17:16.049" v="97" actId="1076"/>
          <ac:picMkLst>
            <pc:docMk/>
            <pc:sldMk cId="2871671113" sldId="292"/>
            <ac:picMk id="7" creationId="{669E3591-DDD9-3DA3-61EE-F4067660B785}"/>
          </ac:picMkLst>
        </pc:picChg>
      </pc:sldChg>
      <pc:sldChg chg="addSp delSp modSp mod ord">
        <pc:chgData name="Marialuisa Pes" userId="2e7d9df5-0575-4dcc-80e5-bc0bfe81a8c2" providerId="ADAL" clId="{E733A1BF-E4B2-4529-B224-EB839E36BA9A}" dt="2023-06-28T10:14:19.544" v="3922" actId="1076"/>
        <pc:sldMkLst>
          <pc:docMk/>
          <pc:sldMk cId="3955424193" sldId="293"/>
        </pc:sldMkLst>
        <pc:spChg chg="del mod ord">
          <ac:chgData name="Marialuisa Pes" userId="2e7d9df5-0575-4dcc-80e5-bc0bfe81a8c2" providerId="ADAL" clId="{E733A1BF-E4B2-4529-B224-EB839E36BA9A}" dt="2023-06-27T14:56:56.743" v="236" actId="478"/>
          <ac:spMkLst>
            <pc:docMk/>
            <pc:sldMk cId="3955424193" sldId="293"/>
            <ac:spMk id="5" creationId="{9DCA02C2-ADF9-DB64-B3C5-C9BDA8170EEA}"/>
          </ac:spMkLst>
        </pc:spChg>
        <pc:spChg chg="mod">
          <ac:chgData name="Marialuisa Pes" userId="2e7d9df5-0575-4dcc-80e5-bc0bfe81a8c2" providerId="ADAL" clId="{E733A1BF-E4B2-4529-B224-EB839E36BA9A}" dt="2023-06-28T10:14:19.544" v="3922" actId="1076"/>
          <ac:spMkLst>
            <pc:docMk/>
            <pc:sldMk cId="3955424193" sldId="293"/>
            <ac:spMk id="14" creationId="{4C1FB03A-ADC3-DF37-A342-E199EAE711AB}"/>
          </ac:spMkLst>
        </pc:spChg>
        <pc:picChg chg="add mod modCrop">
          <ac:chgData name="Marialuisa Pes" userId="2e7d9df5-0575-4dcc-80e5-bc0bfe81a8c2" providerId="ADAL" clId="{E733A1BF-E4B2-4529-B224-EB839E36BA9A}" dt="2023-06-27T15:00:53.414" v="265" actId="1076"/>
          <ac:picMkLst>
            <pc:docMk/>
            <pc:sldMk cId="3955424193" sldId="293"/>
            <ac:picMk id="3" creationId="{78CB1522-CA30-6921-2195-7052F2F96524}"/>
          </ac:picMkLst>
        </pc:picChg>
        <pc:picChg chg="del">
          <ac:chgData name="Marialuisa Pes" userId="2e7d9df5-0575-4dcc-80e5-bc0bfe81a8c2" providerId="ADAL" clId="{E733A1BF-E4B2-4529-B224-EB839E36BA9A}" dt="2023-06-27T14:19:09.409" v="98" actId="478"/>
          <ac:picMkLst>
            <pc:docMk/>
            <pc:sldMk cId="3955424193" sldId="293"/>
            <ac:picMk id="4" creationId="{C4058861-A712-8F14-214A-DB9F103508C2}"/>
          </ac:picMkLst>
        </pc:picChg>
      </pc:sldChg>
      <pc:sldChg chg="del">
        <pc:chgData name="Marialuisa Pes" userId="2e7d9df5-0575-4dcc-80e5-bc0bfe81a8c2" providerId="ADAL" clId="{E733A1BF-E4B2-4529-B224-EB839E36BA9A}" dt="2023-06-27T16:11:10.068" v="1024" actId="47"/>
        <pc:sldMkLst>
          <pc:docMk/>
          <pc:sldMk cId="540617763" sldId="294"/>
        </pc:sldMkLst>
      </pc:sldChg>
      <pc:sldChg chg="addSp delSp modSp mod">
        <pc:chgData name="Marialuisa Pes" userId="2e7d9df5-0575-4dcc-80e5-bc0bfe81a8c2" providerId="ADAL" clId="{E733A1BF-E4B2-4529-B224-EB839E36BA9A}" dt="2023-06-28T14:48:26.984" v="4063" actId="1036"/>
        <pc:sldMkLst>
          <pc:docMk/>
          <pc:sldMk cId="2773683366" sldId="295"/>
        </pc:sldMkLst>
        <pc:spChg chg="del">
          <ac:chgData name="Marialuisa Pes" userId="2e7d9df5-0575-4dcc-80e5-bc0bfe81a8c2" providerId="ADAL" clId="{E733A1BF-E4B2-4529-B224-EB839E36BA9A}" dt="2023-06-27T16:12:05.084" v="1026" actId="478"/>
          <ac:spMkLst>
            <pc:docMk/>
            <pc:sldMk cId="2773683366" sldId="295"/>
            <ac:spMk id="2" creationId="{A137D3AA-4EC9-0F7A-07EA-524F045B4100}"/>
          </ac:spMkLst>
        </pc:spChg>
        <pc:spChg chg="add mod">
          <ac:chgData name="Marialuisa Pes" userId="2e7d9df5-0575-4dcc-80e5-bc0bfe81a8c2" providerId="ADAL" clId="{E733A1BF-E4B2-4529-B224-EB839E36BA9A}" dt="2023-06-28T10:07:57.453" v="3558" actId="1037"/>
          <ac:spMkLst>
            <pc:docMk/>
            <pc:sldMk cId="2773683366" sldId="295"/>
            <ac:spMk id="2" creationId="{B4716F88-E831-DBF1-A213-55F05F0F7C47}"/>
          </ac:spMkLst>
        </pc:spChg>
        <pc:spChg chg="mod">
          <ac:chgData name="Marialuisa Pes" userId="2e7d9df5-0575-4dcc-80e5-bc0bfe81a8c2" providerId="ADAL" clId="{E733A1BF-E4B2-4529-B224-EB839E36BA9A}" dt="2023-06-28T14:48:26.984" v="4063" actId="1036"/>
          <ac:spMkLst>
            <pc:docMk/>
            <pc:sldMk cId="2773683366" sldId="295"/>
            <ac:spMk id="7" creationId="{C6B65B4A-3464-D214-C7EC-602F445D3446}"/>
          </ac:spMkLst>
        </pc:spChg>
        <pc:spChg chg="mod">
          <ac:chgData name="Marialuisa Pes" userId="2e7d9df5-0575-4dcc-80e5-bc0bfe81a8c2" providerId="ADAL" clId="{E733A1BF-E4B2-4529-B224-EB839E36BA9A}" dt="2023-06-28T14:48:20.398" v="4051" actId="20577"/>
          <ac:spMkLst>
            <pc:docMk/>
            <pc:sldMk cId="2773683366" sldId="295"/>
            <ac:spMk id="14" creationId="{4C1FB03A-ADC3-DF37-A342-E199EAE711AB}"/>
          </ac:spMkLst>
        </pc:spChg>
        <pc:picChg chg="del">
          <ac:chgData name="Marialuisa Pes" userId="2e7d9df5-0575-4dcc-80e5-bc0bfe81a8c2" providerId="ADAL" clId="{E733A1BF-E4B2-4529-B224-EB839E36BA9A}" dt="2023-06-27T16:12:04.312" v="1025" actId="478"/>
          <ac:picMkLst>
            <pc:docMk/>
            <pc:sldMk cId="2773683366" sldId="295"/>
            <ac:picMk id="3" creationId="{388B1412-F5AA-3402-603F-163D85FD91AF}"/>
          </ac:picMkLst>
        </pc:picChg>
        <pc:picChg chg="add del mod">
          <ac:chgData name="Marialuisa Pes" userId="2e7d9df5-0575-4dcc-80e5-bc0bfe81a8c2" providerId="ADAL" clId="{E733A1BF-E4B2-4529-B224-EB839E36BA9A}" dt="2023-06-27T16:12:10.844" v="1030" actId="478"/>
          <ac:picMkLst>
            <pc:docMk/>
            <pc:sldMk cId="2773683366" sldId="295"/>
            <ac:picMk id="6" creationId="{4621F25F-8D1B-AC43-43C6-737F6D384147}"/>
          </ac:picMkLst>
        </pc:picChg>
        <pc:picChg chg="add mod">
          <ac:chgData name="Marialuisa Pes" userId="2e7d9df5-0575-4dcc-80e5-bc0bfe81a8c2" providerId="ADAL" clId="{E733A1BF-E4B2-4529-B224-EB839E36BA9A}" dt="2023-06-27T16:13:18.760" v="1034" actId="1076"/>
          <ac:picMkLst>
            <pc:docMk/>
            <pc:sldMk cId="2773683366" sldId="295"/>
            <ac:picMk id="10" creationId="{BA1A78E4-211A-90FB-5CE0-CDF3C67E73A9}"/>
          </ac:picMkLst>
        </pc:picChg>
      </pc:sldChg>
      <pc:sldChg chg="addSp delSp modSp add mod">
        <pc:chgData name="Marialuisa Pes" userId="2e7d9df5-0575-4dcc-80e5-bc0bfe81a8c2" providerId="ADAL" clId="{E733A1BF-E4B2-4529-B224-EB839E36BA9A}" dt="2023-06-28T09:53:17.510" v="2749" actId="113"/>
        <pc:sldMkLst>
          <pc:docMk/>
          <pc:sldMk cId="892378464" sldId="296"/>
        </pc:sldMkLst>
        <pc:spChg chg="mod">
          <ac:chgData name="Marialuisa Pes" userId="2e7d9df5-0575-4dcc-80e5-bc0bfe81a8c2" providerId="ADAL" clId="{E733A1BF-E4B2-4529-B224-EB839E36BA9A}" dt="2023-06-27T16:15:18.214" v="1089" actId="20577"/>
          <ac:spMkLst>
            <pc:docMk/>
            <pc:sldMk cId="892378464" sldId="296"/>
            <ac:spMk id="2" creationId="{42399F5D-A507-F8C7-5AF5-1CD6A28EC7E0}"/>
          </ac:spMkLst>
        </pc:spChg>
        <pc:spChg chg="add del mod">
          <ac:chgData name="Marialuisa Pes" userId="2e7d9df5-0575-4dcc-80e5-bc0bfe81a8c2" providerId="ADAL" clId="{E733A1BF-E4B2-4529-B224-EB839E36BA9A}" dt="2023-06-28T08:57:26.347" v="1123"/>
          <ac:spMkLst>
            <pc:docMk/>
            <pc:sldMk cId="892378464" sldId="296"/>
            <ac:spMk id="3" creationId="{D640F218-68FB-BD1F-DDB9-DE2448353BDC}"/>
          </ac:spMkLst>
        </pc:spChg>
        <pc:spChg chg="add mod">
          <ac:chgData name="Marialuisa Pes" userId="2e7d9df5-0575-4dcc-80e5-bc0bfe81a8c2" providerId="ADAL" clId="{E733A1BF-E4B2-4529-B224-EB839E36BA9A}" dt="2023-06-28T08:59:20.348" v="1134" actId="207"/>
          <ac:spMkLst>
            <pc:docMk/>
            <pc:sldMk cId="892378464" sldId="296"/>
            <ac:spMk id="4" creationId="{FFFAD919-BE4C-B9B4-CFB2-A5B5299FFCD4}"/>
          </ac:spMkLst>
        </pc:spChg>
        <pc:spChg chg="add mod">
          <ac:chgData name="Marialuisa Pes" userId="2e7d9df5-0575-4dcc-80e5-bc0bfe81a8c2" providerId="ADAL" clId="{E733A1BF-E4B2-4529-B224-EB839E36BA9A}" dt="2023-06-28T08:59:34.294" v="1140" actId="1076"/>
          <ac:spMkLst>
            <pc:docMk/>
            <pc:sldMk cId="892378464" sldId="296"/>
            <ac:spMk id="6" creationId="{ACAF0C35-5C94-89CC-91E9-A8C253D4459A}"/>
          </ac:spMkLst>
        </pc:spChg>
        <pc:spChg chg="add mod">
          <ac:chgData name="Marialuisa Pes" userId="2e7d9df5-0575-4dcc-80e5-bc0bfe81a8c2" providerId="ADAL" clId="{E733A1BF-E4B2-4529-B224-EB839E36BA9A}" dt="2023-06-28T09:07:12.408" v="1234" actId="14100"/>
          <ac:spMkLst>
            <pc:docMk/>
            <pc:sldMk cId="892378464" sldId="296"/>
            <ac:spMk id="9" creationId="{9BB3432A-24C1-9EDE-3F96-D2B81A96B8CC}"/>
          </ac:spMkLst>
        </pc:spChg>
        <pc:spChg chg="add del mod">
          <ac:chgData name="Marialuisa Pes" userId="2e7d9df5-0575-4dcc-80e5-bc0bfe81a8c2" providerId="ADAL" clId="{E733A1BF-E4B2-4529-B224-EB839E36BA9A}" dt="2023-06-28T09:01:00.177" v="1153" actId="478"/>
          <ac:spMkLst>
            <pc:docMk/>
            <pc:sldMk cId="892378464" sldId="296"/>
            <ac:spMk id="10" creationId="{921DC2B3-0A69-5471-483A-381A3CBD2232}"/>
          </ac:spMkLst>
        </pc:spChg>
        <pc:spChg chg="mod">
          <ac:chgData name="Marialuisa Pes" userId="2e7d9df5-0575-4dcc-80e5-bc0bfe81a8c2" providerId="ADAL" clId="{E733A1BF-E4B2-4529-B224-EB839E36BA9A}" dt="2023-06-28T09:53:17.510" v="2749" actId="113"/>
          <ac:spMkLst>
            <pc:docMk/>
            <pc:sldMk cId="892378464" sldId="296"/>
            <ac:spMk id="14" creationId="{4C1FB03A-ADC3-DF37-A342-E199EAE711AB}"/>
          </ac:spMkLst>
        </pc:spChg>
        <pc:picChg chg="del">
          <ac:chgData name="Marialuisa Pes" userId="2e7d9df5-0575-4dcc-80e5-bc0bfe81a8c2" providerId="ADAL" clId="{E733A1BF-E4B2-4529-B224-EB839E36BA9A}" dt="2023-06-27T15:01:08.012" v="268" actId="478"/>
          <ac:picMkLst>
            <pc:docMk/>
            <pc:sldMk cId="892378464" sldId="296"/>
            <ac:picMk id="3" creationId="{78CB1522-CA30-6921-2195-7052F2F96524}"/>
          </ac:picMkLst>
        </pc:picChg>
        <pc:picChg chg="add del mod">
          <ac:chgData name="Marialuisa Pes" userId="2e7d9df5-0575-4dcc-80e5-bc0bfe81a8c2" providerId="ADAL" clId="{E733A1BF-E4B2-4529-B224-EB839E36BA9A}" dt="2023-06-28T08:59:27.257" v="1138"/>
          <ac:picMkLst>
            <pc:docMk/>
            <pc:sldMk cId="892378464" sldId="296"/>
            <ac:picMk id="5" creationId="{4FA21A90-ADAD-1A60-35DA-F6E7EDCCD6AB}"/>
          </ac:picMkLst>
        </pc:picChg>
        <pc:picChg chg="add del mod">
          <ac:chgData name="Marialuisa Pes" userId="2e7d9df5-0575-4dcc-80e5-bc0bfe81a8c2" providerId="ADAL" clId="{E733A1BF-E4B2-4529-B224-EB839E36BA9A}" dt="2023-06-27T15:04:18.348" v="304" actId="478"/>
          <ac:picMkLst>
            <pc:docMk/>
            <pc:sldMk cId="892378464" sldId="296"/>
            <ac:picMk id="5" creationId="{8318FDC1-6B1E-8759-70F2-58A9EB53DCFC}"/>
          </ac:picMkLst>
        </pc:picChg>
        <pc:picChg chg="add del mod modCrop">
          <ac:chgData name="Marialuisa Pes" userId="2e7d9df5-0575-4dcc-80e5-bc0bfe81a8c2" providerId="ADAL" clId="{E733A1BF-E4B2-4529-B224-EB839E36BA9A}" dt="2023-06-28T09:00:58.558" v="1152" actId="478"/>
          <ac:picMkLst>
            <pc:docMk/>
            <pc:sldMk cId="892378464" sldId="296"/>
            <ac:picMk id="7" creationId="{06772587-72BD-701E-CE04-0B16B661F43E}"/>
          </ac:picMkLst>
        </pc:picChg>
        <pc:picChg chg="add del mod">
          <ac:chgData name="Marialuisa Pes" userId="2e7d9df5-0575-4dcc-80e5-bc0bfe81a8c2" providerId="ADAL" clId="{E733A1BF-E4B2-4529-B224-EB839E36BA9A}" dt="2023-06-28T08:59:39.424" v="1142" actId="478"/>
          <ac:picMkLst>
            <pc:docMk/>
            <pc:sldMk cId="892378464" sldId="296"/>
            <ac:picMk id="8" creationId="{10A03259-8306-5EF4-8862-F33577157772}"/>
          </ac:picMkLst>
        </pc:picChg>
      </pc:sldChg>
      <pc:sldChg chg="addSp delSp modSp add mod">
        <pc:chgData name="Marialuisa Pes" userId="2e7d9df5-0575-4dcc-80e5-bc0bfe81a8c2" providerId="ADAL" clId="{E733A1BF-E4B2-4529-B224-EB839E36BA9A}" dt="2023-06-28T14:47:54.498" v="4031" actId="20577"/>
        <pc:sldMkLst>
          <pc:docMk/>
          <pc:sldMk cId="3641602408" sldId="297"/>
        </pc:sldMkLst>
        <pc:spChg chg="add mod">
          <ac:chgData name="Marialuisa Pes" userId="2e7d9df5-0575-4dcc-80e5-bc0bfe81a8c2" providerId="ADAL" clId="{E733A1BF-E4B2-4529-B224-EB839E36BA9A}" dt="2023-06-28T09:55:21.140" v="2758" actId="14100"/>
          <ac:spMkLst>
            <pc:docMk/>
            <pc:sldMk cId="3641602408" sldId="297"/>
            <ac:spMk id="3" creationId="{0FB86828-38C7-090C-963E-57B1712DBFC2}"/>
          </ac:spMkLst>
        </pc:spChg>
        <pc:spChg chg="add del mod">
          <ac:chgData name="Marialuisa Pes" userId="2e7d9df5-0575-4dcc-80e5-bc0bfe81a8c2" providerId="ADAL" clId="{E733A1BF-E4B2-4529-B224-EB839E36BA9A}" dt="2023-06-28T09:03:09.950" v="1179" actId="478"/>
          <ac:spMkLst>
            <pc:docMk/>
            <pc:sldMk cId="3641602408" sldId="297"/>
            <ac:spMk id="4" creationId="{3D48BC06-B7CC-2A46-CBA5-E66A135AECD9}"/>
          </ac:spMkLst>
        </pc:spChg>
        <pc:spChg chg="add mod">
          <ac:chgData name="Marialuisa Pes" userId="2e7d9df5-0575-4dcc-80e5-bc0bfe81a8c2" providerId="ADAL" clId="{E733A1BF-E4B2-4529-B224-EB839E36BA9A}" dt="2023-06-28T09:06:58.883" v="1232" actId="1076"/>
          <ac:spMkLst>
            <pc:docMk/>
            <pc:sldMk cId="3641602408" sldId="297"/>
            <ac:spMk id="5" creationId="{91908A33-68D3-79FA-1F0D-08EA88D4E7A1}"/>
          </ac:spMkLst>
        </pc:spChg>
        <pc:spChg chg="mod">
          <ac:chgData name="Marialuisa Pes" userId="2e7d9df5-0575-4dcc-80e5-bc0bfe81a8c2" providerId="ADAL" clId="{E733A1BF-E4B2-4529-B224-EB839E36BA9A}" dt="2023-06-28T14:47:54.498" v="4031" actId="20577"/>
          <ac:spMkLst>
            <pc:docMk/>
            <pc:sldMk cId="3641602408" sldId="297"/>
            <ac:spMk id="14" creationId="{4C1FB03A-ADC3-DF37-A342-E199EAE711AB}"/>
          </ac:spMkLst>
        </pc:spChg>
        <pc:picChg chg="mod">
          <ac:chgData name="Marialuisa Pes" userId="2e7d9df5-0575-4dcc-80e5-bc0bfe81a8c2" providerId="ADAL" clId="{E733A1BF-E4B2-4529-B224-EB839E36BA9A}" dt="2023-06-28T09:06:35.665" v="1228" actId="1076"/>
          <ac:picMkLst>
            <pc:docMk/>
            <pc:sldMk cId="3641602408" sldId="297"/>
            <ac:picMk id="7" creationId="{06772587-72BD-701E-CE04-0B16B661F43E}"/>
          </ac:picMkLst>
        </pc:picChg>
      </pc:sldChg>
    </pc:docChg>
  </pc:docChgLst>
  <pc:docChgLst>
    <pc:chgData name="Marialuisa Pes" userId="2e7d9df5-0575-4dcc-80e5-bc0bfe81a8c2" providerId="ADAL" clId="{7AC9AD23-B1A6-4807-874D-EA0A30F43ACA}"/>
    <pc:docChg chg="undo custSel modSld">
      <pc:chgData name="Marialuisa Pes" userId="2e7d9df5-0575-4dcc-80e5-bc0bfe81a8c2" providerId="ADAL" clId="{7AC9AD23-B1A6-4807-874D-EA0A30F43ACA}" dt="2023-05-22T15:22:52.067" v="45" actId="1076"/>
      <pc:docMkLst>
        <pc:docMk/>
      </pc:docMkLst>
      <pc:sldChg chg="modSp mod">
        <pc:chgData name="Marialuisa Pes" userId="2e7d9df5-0575-4dcc-80e5-bc0bfe81a8c2" providerId="ADAL" clId="{7AC9AD23-B1A6-4807-874D-EA0A30F43ACA}" dt="2023-05-11T16:20:31.376" v="0" actId="207"/>
        <pc:sldMkLst>
          <pc:docMk/>
          <pc:sldMk cId="0" sldId="257"/>
        </pc:sldMkLst>
        <pc:spChg chg="mod">
          <ac:chgData name="Marialuisa Pes" userId="2e7d9df5-0575-4dcc-80e5-bc0bfe81a8c2" providerId="ADAL" clId="{7AC9AD23-B1A6-4807-874D-EA0A30F43ACA}" dt="2023-05-11T16:20:31.376" v="0" actId="207"/>
          <ac:spMkLst>
            <pc:docMk/>
            <pc:sldMk cId="0" sldId="257"/>
            <ac:spMk id="144" creationId="{00000000-0000-0000-0000-000000000000}"/>
          </ac:spMkLst>
        </pc:spChg>
      </pc:sldChg>
      <pc:sldChg chg="modSp mod">
        <pc:chgData name="Marialuisa Pes" userId="2e7d9df5-0575-4dcc-80e5-bc0bfe81a8c2" providerId="ADAL" clId="{7AC9AD23-B1A6-4807-874D-EA0A30F43ACA}" dt="2023-05-22T15:22:52.067" v="45" actId="1076"/>
        <pc:sldMkLst>
          <pc:docMk/>
          <pc:sldMk cId="1273150305" sldId="286"/>
        </pc:sldMkLst>
        <pc:spChg chg="mod">
          <ac:chgData name="Marialuisa Pes" userId="2e7d9df5-0575-4dcc-80e5-bc0bfe81a8c2" providerId="ADAL" clId="{7AC9AD23-B1A6-4807-874D-EA0A30F43ACA}" dt="2023-05-22T15:22:52.067" v="45" actId="1076"/>
          <ac:spMkLst>
            <pc:docMk/>
            <pc:sldMk cId="1273150305" sldId="286"/>
            <ac:spMk id="2" creationId="{A6BADED0-2E0F-714E-7937-93ACB3EA33A9}"/>
          </ac:spMkLst>
        </pc:spChg>
        <pc:spChg chg="mod">
          <ac:chgData name="Marialuisa Pes" userId="2e7d9df5-0575-4dcc-80e5-bc0bfe81a8c2" providerId="ADAL" clId="{7AC9AD23-B1A6-4807-874D-EA0A30F43ACA}" dt="2023-05-11T16:22:19.160" v="35" actId="255"/>
          <ac:spMkLst>
            <pc:docMk/>
            <pc:sldMk cId="1273150305" sldId="286"/>
            <ac:spMk id="212" creationId="{00000000-0000-0000-0000-000000000000}"/>
          </ac:spMkLst>
        </pc:spChg>
      </pc:sldChg>
      <pc:sldChg chg="modSp mod">
        <pc:chgData name="Marialuisa Pes" userId="2e7d9df5-0575-4dcc-80e5-bc0bfe81a8c2" providerId="ADAL" clId="{7AC9AD23-B1A6-4807-874D-EA0A30F43ACA}" dt="2023-05-11T16:20:43.696" v="4" actId="207"/>
        <pc:sldMkLst>
          <pc:docMk/>
          <pc:sldMk cId="3534467196" sldId="290"/>
        </pc:sldMkLst>
        <pc:spChg chg="mod">
          <ac:chgData name="Marialuisa Pes" userId="2e7d9df5-0575-4dcc-80e5-bc0bfe81a8c2" providerId="ADAL" clId="{7AC9AD23-B1A6-4807-874D-EA0A30F43ACA}" dt="2023-05-11T16:20:36.922" v="2" actId="207"/>
          <ac:spMkLst>
            <pc:docMk/>
            <pc:sldMk cId="3534467196" sldId="290"/>
            <ac:spMk id="3" creationId="{9196D90A-3DDE-B6F1-1577-F2996C6EC3F0}"/>
          </ac:spMkLst>
        </pc:spChg>
        <pc:spChg chg="mod">
          <ac:chgData name="Marialuisa Pes" userId="2e7d9df5-0575-4dcc-80e5-bc0bfe81a8c2" providerId="ADAL" clId="{7AC9AD23-B1A6-4807-874D-EA0A30F43ACA}" dt="2023-05-11T16:20:43.696" v="4" actId="207"/>
          <ac:spMkLst>
            <pc:docMk/>
            <pc:sldMk cId="3534467196" sldId="290"/>
            <ac:spMk id="7" creationId="{EA671172-93DB-C147-9B07-132989C6BE13}"/>
          </ac:spMkLst>
        </pc:spChg>
      </pc:sldChg>
      <pc:sldChg chg="modSp mod">
        <pc:chgData name="Marialuisa Pes" userId="2e7d9df5-0575-4dcc-80e5-bc0bfe81a8c2" providerId="ADAL" clId="{7AC9AD23-B1A6-4807-874D-EA0A30F43ACA}" dt="2023-05-11T16:20:50.213" v="7" actId="1076"/>
        <pc:sldMkLst>
          <pc:docMk/>
          <pc:sldMk cId="2871671113" sldId="292"/>
        </pc:sldMkLst>
        <pc:spChg chg="mod">
          <ac:chgData name="Marialuisa Pes" userId="2e7d9df5-0575-4dcc-80e5-bc0bfe81a8c2" providerId="ADAL" clId="{7AC9AD23-B1A6-4807-874D-EA0A30F43ACA}" dt="2023-05-11T16:20:50.213" v="7" actId="1076"/>
          <ac:spMkLst>
            <pc:docMk/>
            <pc:sldMk cId="2871671113" sldId="292"/>
            <ac:spMk id="2" creationId="{65815542-5F12-0DB8-AD9A-C85E7097E36A}"/>
          </ac:spMkLst>
        </pc:spChg>
      </pc:sldChg>
      <pc:sldChg chg="modSp mod">
        <pc:chgData name="Marialuisa Pes" userId="2e7d9df5-0575-4dcc-80e5-bc0bfe81a8c2" providerId="ADAL" clId="{7AC9AD23-B1A6-4807-874D-EA0A30F43ACA}" dt="2023-05-11T16:21:01.448" v="11" actId="208"/>
        <pc:sldMkLst>
          <pc:docMk/>
          <pc:sldMk cId="3955424193" sldId="293"/>
        </pc:sldMkLst>
        <pc:spChg chg="mod">
          <ac:chgData name="Marialuisa Pes" userId="2e7d9df5-0575-4dcc-80e5-bc0bfe81a8c2" providerId="ADAL" clId="{7AC9AD23-B1A6-4807-874D-EA0A30F43ACA}" dt="2023-05-11T16:20:56.453" v="10" actId="1076"/>
          <ac:spMkLst>
            <pc:docMk/>
            <pc:sldMk cId="3955424193" sldId="293"/>
            <ac:spMk id="2" creationId="{42399F5D-A507-F8C7-5AF5-1CD6A28EC7E0}"/>
          </ac:spMkLst>
        </pc:spChg>
        <pc:spChg chg="mod">
          <ac:chgData name="Marialuisa Pes" userId="2e7d9df5-0575-4dcc-80e5-bc0bfe81a8c2" providerId="ADAL" clId="{7AC9AD23-B1A6-4807-874D-EA0A30F43ACA}" dt="2023-05-11T16:21:01.448" v="11" actId="208"/>
          <ac:spMkLst>
            <pc:docMk/>
            <pc:sldMk cId="3955424193" sldId="293"/>
            <ac:spMk id="5" creationId="{9DCA02C2-ADF9-DB64-B3C5-C9BDA8170EEA}"/>
          </ac:spMkLst>
        </pc:spChg>
      </pc:sldChg>
      <pc:sldChg chg="modSp mod">
        <pc:chgData name="Marialuisa Pes" userId="2e7d9df5-0575-4dcc-80e5-bc0bfe81a8c2" providerId="ADAL" clId="{7AC9AD23-B1A6-4807-874D-EA0A30F43ACA}" dt="2023-05-11T16:21:11.229" v="14" actId="1076"/>
        <pc:sldMkLst>
          <pc:docMk/>
          <pc:sldMk cId="540617763" sldId="294"/>
        </pc:sldMkLst>
        <pc:spChg chg="mod">
          <ac:chgData name="Marialuisa Pes" userId="2e7d9df5-0575-4dcc-80e5-bc0bfe81a8c2" providerId="ADAL" clId="{7AC9AD23-B1A6-4807-874D-EA0A30F43ACA}" dt="2023-05-11T16:21:11.229" v="14" actId="1076"/>
          <ac:spMkLst>
            <pc:docMk/>
            <pc:sldMk cId="540617763" sldId="294"/>
            <ac:spMk id="5" creationId="{628CB9BC-02D8-353F-CEA1-F4390337D9E8}"/>
          </ac:spMkLst>
        </pc:spChg>
      </pc:sldChg>
      <pc:sldChg chg="addSp delSp modSp mod">
        <pc:chgData name="Marialuisa Pes" userId="2e7d9df5-0575-4dcc-80e5-bc0bfe81a8c2" providerId="ADAL" clId="{7AC9AD23-B1A6-4807-874D-EA0A30F43ACA}" dt="2023-05-11T16:22:07.621" v="32" actId="14100"/>
        <pc:sldMkLst>
          <pc:docMk/>
          <pc:sldMk cId="2773683366" sldId="295"/>
        </pc:sldMkLst>
        <pc:spChg chg="add mod">
          <ac:chgData name="Marialuisa Pes" userId="2e7d9df5-0575-4dcc-80e5-bc0bfe81a8c2" providerId="ADAL" clId="{7AC9AD23-B1A6-4807-874D-EA0A30F43ACA}" dt="2023-05-11T16:22:07.621" v="32" actId="14100"/>
          <ac:spMkLst>
            <pc:docMk/>
            <pc:sldMk cId="2773683366" sldId="295"/>
            <ac:spMk id="2" creationId="{A137D3AA-4EC9-0F7A-07EA-524F045B4100}"/>
          </ac:spMkLst>
        </pc:spChg>
        <pc:spChg chg="mod">
          <ac:chgData name="Marialuisa Pes" userId="2e7d9df5-0575-4dcc-80e5-bc0bfe81a8c2" providerId="ADAL" clId="{7AC9AD23-B1A6-4807-874D-EA0A30F43ACA}" dt="2023-05-11T16:21:17.568" v="17" actId="1076"/>
          <ac:spMkLst>
            <pc:docMk/>
            <pc:sldMk cId="2773683366" sldId="295"/>
            <ac:spMk id="5" creationId="{43727C2B-BBCB-CCE5-1A3A-9D31AEBEAEDF}"/>
          </ac:spMkLst>
        </pc:spChg>
        <pc:spChg chg="add del mod">
          <ac:chgData name="Marialuisa Pes" userId="2e7d9df5-0575-4dcc-80e5-bc0bfe81a8c2" providerId="ADAL" clId="{7AC9AD23-B1A6-4807-874D-EA0A30F43ACA}" dt="2023-05-11T16:21:56.961" v="28" actId="478"/>
          <ac:spMkLst>
            <pc:docMk/>
            <pc:sldMk cId="2773683366" sldId="295"/>
            <ac:spMk id="6" creationId="{F2045C2F-68F9-68FA-1309-D8BF75C5A15B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2" name="Google Shape;14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990626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782174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809122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967454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236755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03699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_Icon">
  <p:cSld name="Cover_Icon">
    <p:bg>
      <p:bgPr>
        <a:solidFill>
          <a:srgbClr val="FFFFFF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30"/>
          <p:cNvSpPr txBox="1">
            <a:spLocks noGrp="1"/>
          </p:cNvSpPr>
          <p:nvPr>
            <p:ph type="ctrTitle"/>
          </p:nvPr>
        </p:nvSpPr>
        <p:spPr>
          <a:xfrm>
            <a:off x="6104601" y="3442252"/>
            <a:ext cx="5764731" cy="31203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DCCD3"/>
              </a:buClr>
              <a:buSzPts val="5000"/>
              <a:buFont typeface="Helvetica Neue"/>
              <a:buNone/>
              <a:defRPr sz="5000" b="1">
                <a:solidFill>
                  <a:srgbClr val="2DCCD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30"/>
          <p:cNvSpPr txBox="1">
            <a:spLocks noGrp="1"/>
          </p:cNvSpPr>
          <p:nvPr>
            <p:ph type="subTitle" idx="1"/>
          </p:nvPr>
        </p:nvSpPr>
        <p:spPr>
          <a:xfrm>
            <a:off x="6104601" y="2831747"/>
            <a:ext cx="5764731" cy="58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DCCD3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2DCCD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Sofia"/>
                <a:ea typeface="Sofia"/>
                <a:cs typeface="Sofia"/>
                <a:sym typeface="Sofia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Sofia"/>
                <a:ea typeface="Sofia"/>
                <a:cs typeface="Sofia"/>
                <a:sym typeface="Sofia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Sofia"/>
                <a:ea typeface="Sofia"/>
                <a:cs typeface="Sofia"/>
                <a:sym typeface="Sofia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Sofia"/>
                <a:ea typeface="Sofia"/>
                <a:cs typeface="Sofia"/>
                <a:sym typeface="Sofia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18" name="Google Shape;18;p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09417" y="301147"/>
            <a:ext cx="5225102" cy="62515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_simple">
  <p:cSld name="content_simple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41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1pPr>
            <a:lvl2pPr marL="0" marR="0" lvl="1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2pPr>
            <a:lvl3pPr marL="0" marR="0" lvl="2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3pPr>
            <a:lvl4pPr marL="0" marR="0" lvl="3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4pPr>
            <a:lvl5pPr marL="0" marR="0" lvl="4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5pPr>
            <a:lvl6pPr marL="0" marR="0" lvl="5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6pPr>
            <a:lvl7pPr marL="0" marR="0" lvl="6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7pPr>
            <a:lvl8pPr marL="0" marR="0" lvl="7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8pPr>
            <a:lvl9pPr marL="0" marR="0" lvl="8" indent="0" algn="r" rtl="0">
              <a:spcBef>
                <a:spcPts val="0"/>
              </a:spcBef>
              <a:buNone/>
              <a:defRPr sz="900" i="0" u="none" strike="noStrike" cap="none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N›</a:t>
            </a:fld>
            <a:endParaRPr/>
          </a:p>
        </p:txBody>
      </p:sp>
      <p:sp>
        <p:nvSpPr>
          <p:cNvPr id="57" name="Google Shape;57;p41"/>
          <p:cNvSpPr txBox="1">
            <a:spLocks noGrp="1"/>
          </p:cNvSpPr>
          <p:nvPr>
            <p:ph type="body" idx="1"/>
          </p:nvPr>
        </p:nvSpPr>
        <p:spPr>
          <a:xfrm>
            <a:off x="316532" y="2120348"/>
            <a:ext cx="11697821" cy="3472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41"/>
          <p:cNvSpPr txBox="1"/>
          <p:nvPr/>
        </p:nvSpPr>
        <p:spPr>
          <a:xfrm>
            <a:off x="631575" y="6340100"/>
            <a:ext cx="1758900" cy="23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sz="900" i="0" u="none" strike="noStrike" cap="none">
                <a:solidFill>
                  <a:schemeClr val="dk1"/>
                </a:solidFill>
              </a:rPr>
              <a:t>® RETEX SPA</a:t>
            </a:r>
            <a:endParaRPr/>
          </a:p>
        </p:txBody>
      </p:sp>
      <p:pic>
        <p:nvPicPr>
          <p:cNvPr id="59" name="Google Shape;59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6533" y="6242601"/>
            <a:ext cx="266564" cy="318932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41"/>
          <p:cNvSpPr txBox="1">
            <a:spLocks noGrp="1"/>
          </p:cNvSpPr>
          <p:nvPr>
            <p:ph type="title"/>
          </p:nvPr>
        </p:nvSpPr>
        <p:spPr>
          <a:xfrm>
            <a:off x="316532" y="404929"/>
            <a:ext cx="11697822" cy="858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None/>
              <a:defRPr sz="42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+ chart">
  <p:cSld name="Content + chart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50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N›</a:t>
            </a:fld>
            <a:endParaRPr/>
          </a:p>
        </p:txBody>
      </p:sp>
      <p:sp>
        <p:nvSpPr>
          <p:cNvPr id="123" name="Google Shape;123;p50"/>
          <p:cNvSpPr txBox="1">
            <a:spLocks noGrp="1"/>
          </p:cNvSpPr>
          <p:nvPr>
            <p:ph type="body" idx="1"/>
          </p:nvPr>
        </p:nvSpPr>
        <p:spPr>
          <a:xfrm>
            <a:off x="6294782" y="325368"/>
            <a:ext cx="5719572" cy="5660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30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24" name="Google Shape;124;p50"/>
          <p:cNvSpPr txBox="1">
            <a:spLocks noGrp="1"/>
          </p:cNvSpPr>
          <p:nvPr>
            <p:ph type="body" idx="2"/>
          </p:nvPr>
        </p:nvSpPr>
        <p:spPr>
          <a:xfrm>
            <a:off x="316532" y="1789044"/>
            <a:ext cx="5686702" cy="41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30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i="0" u="none" strike="noStrike" cap="none">
                <a:solidFill>
                  <a:schemeClr val="dk1"/>
                </a:solidFill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25" name="Google Shape;125;p50"/>
          <p:cNvSpPr txBox="1">
            <a:spLocks noGrp="1"/>
          </p:cNvSpPr>
          <p:nvPr>
            <p:ph type="title"/>
          </p:nvPr>
        </p:nvSpPr>
        <p:spPr>
          <a:xfrm>
            <a:off x="316533" y="325368"/>
            <a:ext cx="5686702" cy="858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50"/>
          <p:cNvSpPr txBox="1">
            <a:spLocks noGrp="1"/>
          </p:cNvSpPr>
          <p:nvPr>
            <p:ph type="subTitle" idx="3"/>
          </p:nvPr>
        </p:nvSpPr>
        <p:spPr>
          <a:xfrm>
            <a:off x="316533" y="1238375"/>
            <a:ext cx="5686702" cy="2988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A7A8AA"/>
              </a:buClr>
              <a:buSzPts val="1600"/>
              <a:buNone/>
              <a:defRPr sz="1600" i="0" u="none" strike="noStrike" cap="none">
                <a:solidFill>
                  <a:srgbClr val="A7A8AA"/>
                </a:solidFill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i="0" u="none" strike="noStrike" cap="none">
                <a:solidFill>
                  <a:schemeClr val="dk1"/>
                </a:solidFill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i="0" u="none" strike="noStrike" cap="none">
                <a:solidFill>
                  <a:schemeClr val="dk1"/>
                </a:solidFill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27" name="Google Shape;127;p50"/>
          <p:cNvSpPr txBox="1"/>
          <p:nvPr/>
        </p:nvSpPr>
        <p:spPr>
          <a:xfrm>
            <a:off x="631575" y="6340100"/>
            <a:ext cx="1758900" cy="23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sz="900">
                <a:solidFill>
                  <a:schemeClr val="dk1"/>
                </a:solidFill>
              </a:rPr>
              <a:t>® RETEX SPA</a:t>
            </a:r>
            <a:endParaRPr/>
          </a:p>
        </p:txBody>
      </p:sp>
      <p:pic>
        <p:nvPicPr>
          <p:cNvPr id="128" name="Google Shape;128;p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6533" y="6242601"/>
            <a:ext cx="266564" cy="31893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bg>
      <p:bgPr>
        <a:solidFill>
          <a:srgbClr val="FFFFFF"/>
        </a:solidFill>
        <a:effectLst/>
      </p:bgPr>
    </p:bg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51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1pPr>
            <a:lvl2pPr marL="0" marR="0" lvl="1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2pPr>
            <a:lvl3pPr marL="0" marR="0" lvl="2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3pPr>
            <a:lvl4pPr marL="0" marR="0" lvl="3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4pPr>
            <a:lvl5pPr marL="0" marR="0" lvl="4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5pPr>
            <a:lvl6pPr marL="0" marR="0" lvl="5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6pPr>
            <a:lvl7pPr marL="0" marR="0" lvl="6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7pPr>
            <a:lvl8pPr marL="0" marR="0" lvl="7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8pPr>
            <a:lvl9pPr marL="0" marR="0" lvl="8" indent="0" algn="r" rtl="0">
              <a:spcBef>
                <a:spcPts val="0"/>
              </a:spcBef>
              <a:buNone/>
              <a:defRPr sz="900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N›</a:t>
            </a:fld>
            <a:endParaRPr/>
          </a:p>
        </p:txBody>
      </p:sp>
      <p:sp>
        <p:nvSpPr>
          <p:cNvPr id="131" name="Google Shape;131;p51"/>
          <p:cNvSpPr txBox="1"/>
          <p:nvPr/>
        </p:nvSpPr>
        <p:spPr>
          <a:xfrm>
            <a:off x="631575" y="6340100"/>
            <a:ext cx="1758900" cy="23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sz="900">
                <a:solidFill>
                  <a:schemeClr val="dk1"/>
                </a:solidFill>
              </a:rPr>
              <a:t>® RETEX SPA</a:t>
            </a:r>
            <a:endParaRPr/>
          </a:p>
        </p:txBody>
      </p:sp>
      <p:pic>
        <p:nvPicPr>
          <p:cNvPr id="132" name="Google Shape;132;p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6533" y="6242601"/>
            <a:ext cx="266564" cy="31893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9347133D-BAB9-0474-2349-DB652B6313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5690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9347133D-BAB9-0474-2349-DB652B6313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Helvetica Neue"/>
              <a:buNone/>
              <a:defRPr sz="4400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93AC8BA5-F7E1-FCE3-3C1D-3A06D390BF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92086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395" imgH="394" progId="TCLayout.ActiveDocument.1">
                  <p:embed/>
                </p:oleObj>
              </mc:Choice>
              <mc:Fallback>
                <p:oleObj name="Diapositiva think-cell" r:id="rId6" imgW="395" imgH="394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93AC8BA5-F7E1-FCE3-3C1D-3A06D390B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Google Shape;54;p4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None/>
              <a:defRPr sz="4400" b="1" i="0" u="none" strike="noStrike" cap="none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70" r:id="rId2"/>
    <p:sldLayoutId id="2147483671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EF6F3E4D-28B6-A667-19E6-6DE06330D2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0865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EF6F3E4D-28B6-A667-19E6-6DE06330D2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4" name="Google Shape;144;p2"/>
          <p:cNvSpPr txBox="1">
            <a:spLocks noGrp="1"/>
          </p:cNvSpPr>
          <p:nvPr>
            <p:ph type="ctrTitle"/>
          </p:nvPr>
        </p:nvSpPr>
        <p:spPr>
          <a:xfrm>
            <a:off x="5941886" y="3832670"/>
            <a:ext cx="5764731" cy="31203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DCCD3"/>
              </a:buClr>
              <a:buSzPts val="5000"/>
              <a:buFont typeface="Helvetica Neue"/>
              <a:buNone/>
            </a:pPr>
            <a:r>
              <a:rPr lang="it-IT" sz="44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FAQ</a:t>
            </a:r>
            <a:r>
              <a:rPr lang="it-IT" sz="4400" dirty="0">
                <a:solidFill>
                  <a:srgbClr val="68C3CC"/>
                </a:solidFill>
                <a:latin typeface="Poppins" panose="00000500000000000000" pitchFamily="2" charset="0"/>
                <a:ea typeface="Arial"/>
                <a:cs typeface="Poppins" panose="00000500000000000000" pitchFamily="2" charset="0"/>
                <a:sym typeface="Arial"/>
              </a:rPr>
              <a:t> </a:t>
            </a:r>
            <a:br>
              <a:rPr lang="it-IT" sz="4400" dirty="0">
                <a:solidFill>
                  <a:srgbClr val="68C3CC"/>
                </a:solidFill>
                <a:latin typeface="Poppins" panose="00000500000000000000" pitchFamily="2" charset="0"/>
                <a:ea typeface="Arial"/>
                <a:cs typeface="Poppins" panose="00000500000000000000" pitchFamily="2" charset="0"/>
                <a:sym typeface="Arial"/>
              </a:rPr>
            </a:br>
            <a:r>
              <a:rPr lang="it-IT" sz="44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Busta paga</a:t>
            </a:r>
            <a:br>
              <a:rPr lang="it-IT" sz="44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</a:br>
            <a:br>
              <a:rPr lang="it-IT" sz="44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</a:br>
            <a:br>
              <a:rPr lang="it-IT" sz="44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</a:br>
            <a:r>
              <a:rPr lang="it-IT" sz="2200" b="0" dirty="0">
                <a:solidFill>
                  <a:srgbClr val="68C3CC"/>
                </a:solidFill>
                <a:latin typeface="Poppins"/>
                <a:cs typeface="Poppins"/>
                <a:sym typeface="Arial"/>
              </a:rPr>
              <a:t>CCNL Metalmeccanica Industria</a:t>
            </a:r>
            <a:br>
              <a:rPr lang="it-IT" sz="2200" b="0" dirty="0">
                <a:solidFill>
                  <a:srgbClr val="68C3CC"/>
                </a:solidFill>
                <a:latin typeface="Poppins"/>
                <a:cs typeface="Poppins"/>
                <a:sym typeface="Arial"/>
              </a:rPr>
            </a:br>
            <a:endParaRPr sz="2200" b="0" dirty="0">
              <a:solidFill>
                <a:srgbClr val="68C3CC"/>
              </a:solidFill>
              <a:latin typeface="Poppins"/>
              <a:cs typeface="Poppins"/>
              <a:sym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213253D-02FD-F98C-B89F-DF73B397BE8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2</a:t>
            </a:fld>
            <a:endParaRPr lang="it-IT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EA671172-93DB-C147-9B07-132989C6BE13}"/>
              </a:ext>
            </a:extLst>
          </p:cNvPr>
          <p:cNvSpPr txBox="1"/>
          <p:nvPr/>
        </p:nvSpPr>
        <p:spPr>
          <a:xfrm>
            <a:off x="448962" y="1717709"/>
            <a:ext cx="11294074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Il cedolino stipendio o busta paga è un documento che riassume gli elementi che compongono la retribuzione di un lavoratore dipendente.</a:t>
            </a:r>
          </a:p>
          <a:p>
            <a:b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La busta paga non dà solo informazioni relative al rapporto con il datore di lavoro, ma anche su quello con il fisco e con la previdenza.</a:t>
            </a:r>
          </a:p>
          <a:p>
            <a:pPr algn="l"/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La busta paga serve a comunicare al lavoratore, al fisco e agli enti previdenziali, tutte le informazioni relative alla retribuzione lorda del dipendente e a come viene calcolata la retribuzione netta.</a:t>
            </a:r>
          </a:p>
          <a:p>
            <a:pPr algn="l"/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La busta paga è anche il documento che le banche e le finanziarie richiedono quando domandiamo un mutuo o un finanziamento.</a:t>
            </a:r>
          </a:p>
          <a:p>
            <a:pPr algn="l"/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Quindi, prima regola, </a:t>
            </a:r>
            <a:r>
              <a:rPr lang="it-IT" b="1" dirty="0">
                <a:latin typeface="Poppins" panose="00000500000000000000" pitchFamily="2" charset="0"/>
                <a:cs typeface="Poppins" panose="00000500000000000000" pitchFamily="2" charset="0"/>
              </a:rPr>
              <a:t>le buste paga vanno archiviate e conservate insieme alla Certificazione Unica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(documento fiscale comprovante la percezione di un reddito da parte del contribuente). Verrai informato sul caricamento sia della busta paga (mensilmente) che della Certificazione Unica (annualmente) tramite </a:t>
            </a:r>
            <a:r>
              <a:rPr lang="it-IT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noreply@WebDesk.it </a:t>
            </a:r>
            <a:r>
              <a:rPr lang="it-IT" dirty="0">
                <a:latin typeface="Poppins" panose="00000500000000000000" pitchFamily="2" charset="0"/>
                <a:cs typeface="Poppins" panose="00000500000000000000" pitchFamily="2" charset="0"/>
              </a:rPr>
              <a:t>e troverai tutto su </a:t>
            </a:r>
            <a:r>
              <a:rPr lang="it-IT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www.webdesk.it</a:t>
            </a:r>
          </a:p>
          <a:p>
            <a:endParaRPr lang="it-IT" sz="12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" name="Google Shape;214;p12">
            <a:extLst>
              <a:ext uri="{FF2B5EF4-FFF2-40B4-BE49-F238E27FC236}">
                <a16:creationId xmlns:a16="http://schemas.microsoft.com/office/drawing/2014/main" id="{9196D90A-3DDE-B6F1-1577-F2996C6EC3F0}"/>
              </a:ext>
            </a:extLst>
          </p:cNvPr>
          <p:cNvSpPr txBox="1">
            <a:spLocks/>
          </p:cNvSpPr>
          <p:nvPr/>
        </p:nvSpPr>
        <p:spPr>
          <a:xfrm>
            <a:off x="468933" y="617221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buFont typeface="Arial"/>
              <a:buNone/>
            </a:pPr>
            <a:r>
              <a:rPr lang="it-IT" sz="2500" b="1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e cos’è la busta paga?</a:t>
            </a:r>
          </a:p>
        </p:txBody>
      </p:sp>
    </p:spTree>
    <p:extLst>
      <p:ext uri="{BB962C8B-B14F-4D97-AF65-F5344CB8AC3E}">
        <p14:creationId xmlns:p14="http://schemas.microsoft.com/office/powerpoint/2010/main" val="35344671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12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3</a:t>
            </a:fld>
            <a:endParaRPr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4C1FB03A-ADC3-DF37-A342-E199EAE711AB}"/>
              </a:ext>
            </a:extLst>
          </p:cNvPr>
          <p:cNvSpPr txBox="1"/>
          <p:nvPr/>
        </p:nvSpPr>
        <p:spPr>
          <a:xfrm>
            <a:off x="8075378" y="1517272"/>
            <a:ext cx="387020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La prima parte della busta paga contiene i dati aziendali e del dipendente:</a:t>
            </a:r>
          </a:p>
          <a:p>
            <a:pPr algn="l"/>
            <a:endParaRPr lang="it-IT" sz="12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Codice azienda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: il codice identificativo dell’azienda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Ragione sociale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: il nome dell’azienda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Indirizzo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: il luogo ove ha sede l’azienda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Codice fiscale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: codice fiscale attribuito all’azienda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Pos. Previdenziale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: la matricola INPS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Posizione assicurativa: 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indicata la p.a.t. dell’azienda in cui sei iscritto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Unità locale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: il codice di attribuzione dell’azienda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Matricola: 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codice numerico identificativo del dipendente, attribuito in sede di assunzione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Dati anagrafici del dipendente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: nome e cognome, data di nascita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Dati di assunzione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: data di inizio contratto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Tipologia contrattuale e qualifica: 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nell’esempio è un impiegato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200" b="1">
                <a:latin typeface="Poppins" panose="00000500000000000000" pitchFamily="2" charset="0"/>
                <a:cs typeface="Poppins" panose="00000500000000000000" pitchFamily="2" charset="0"/>
              </a:rPr>
              <a:t>Periodo Paga</a:t>
            </a:r>
            <a:r>
              <a:rPr lang="it-IT" sz="1200">
                <a:latin typeface="Poppins" panose="00000500000000000000" pitchFamily="2" charset="0"/>
                <a:cs typeface="Poppins" panose="00000500000000000000" pitchFamily="2" charset="0"/>
              </a:rPr>
              <a:t>: 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nell’esempio è una busta paga del mese di maggio.</a:t>
            </a:r>
            <a:endParaRPr lang="it-IT" sz="1200" b="0" i="0" dirty="0">
              <a:solidFill>
                <a:srgbClr val="2D353D"/>
              </a:solidFill>
              <a:effectLst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Google Shape;214;p12">
            <a:extLst>
              <a:ext uri="{FF2B5EF4-FFF2-40B4-BE49-F238E27FC236}">
                <a16:creationId xmlns:a16="http://schemas.microsoft.com/office/drawing/2014/main" id="{65815542-5F12-0DB8-AD9A-C85E7097E36A}"/>
              </a:ext>
            </a:extLst>
          </p:cNvPr>
          <p:cNvSpPr txBox="1">
            <a:spLocks/>
          </p:cNvSpPr>
          <p:nvPr/>
        </p:nvSpPr>
        <p:spPr>
          <a:xfrm>
            <a:off x="246416" y="401464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buFont typeface="Arial"/>
              <a:buNone/>
            </a:pPr>
            <a:r>
              <a:rPr lang="it-IT" sz="2500" b="1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Quali elementi sono riportati nella prima parte della busta paga?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669E3591-DDD9-3DA3-61EE-F4067660B7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416" y="2145846"/>
            <a:ext cx="7607691" cy="2381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6711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12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4</a:t>
            </a:fld>
            <a:endParaRPr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4C1FB03A-ADC3-DF37-A342-E199EAE711AB}"/>
              </a:ext>
            </a:extLst>
          </p:cNvPr>
          <p:cNvSpPr txBox="1"/>
          <p:nvPr/>
        </p:nvSpPr>
        <p:spPr>
          <a:xfrm>
            <a:off x="7711805" y="1745916"/>
            <a:ext cx="4038626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La seconda parte della busta paga, mostra:</a:t>
            </a:r>
          </a:p>
          <a:p>
            <a:pPr algn="l"/>
            <a:endParaRPr lang="it-IT" sz="12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endParaRPr lang="it-IT" sz="12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Retribuzione Base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: è il compenso lordo minimo del lavoratore previsto dal CCNL di riferimento;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it-IT" sz="12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Scatti di anzianità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: può succedere che sia presente nella busta paga anche questa voce che va a indicare un importo, previsto da CCNL, dettato dagli anni di lavoro maturati in azienda;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it-IT" sz="12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it-IT" sz="1200" b="1" dirty="0">
                <a:latin typeface="Poppins" panose="00000500000000000000" pitchFamily="2" charset="0"/>
                <a:cs typeface="Poppins" panose="00000500000000000000" pitchFamily="2" charset="0"/>
              </a:rPr>
              <a:t>Aumento assorbibile</a:t>
            </a:r>
            <a:r>
              <a:rPr lang="it-IT" sz="1200" dirty="0">
                <a:latin typeface="Poppins" panose="00000500000000000000" pitchFamily="2" charset="0"/>
                <a:cs typeface="Poppins" panose="00000500000000000000" pitchFamily="2" charset="0"/>
              </a:rPr>
              <a:t>: comporta che in caso di un aumento del minimo contrattuale previsto da CCNL,  la retribuzione complessiva di fatto non si modifichi. </a:t>
            </a:r>
          </a:p>
          <a:p>
            <a:pPr algn="l"/>
            <a:endParaRPr lang="it-IT" sz="12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it-IT" sz="12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endParaRPr lang="it-IT" sz="12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endParaRPr lang="it-IT" sz="12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Google Shape;214;p12">
            <a:extLst>
              <a:ext uri="{FF2B5EF4-FFF2-40B4-BE49-F238E27FC236}">
                <a16:creationId xmlns:a16="http://schemas.microsoft.com/office/drawing/2014/main" id="{42399F5D-A507-F8C7-5AF5-1CD6A28EC7E0}"/>
              </a:ext>
            </a:extLst>
          </p:cNvPr>
          <p:cNvSpPr txBox="1">
            <a:spLocks/>
          </p:cNvSpPr>
          <p:nvPr/>
        </p:nvSpPr>
        <p:spPr>
          <a:xfrm>
            <a:off x="161947" y="151181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buFont typeface="Arial"/>
              <a:buNone/>
            </a:pPr>
            <a:r>
              <a:rPr lang="it-IT" sz="2500" b="1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Quali elementi sono riportati nella seconda parte della busta paga?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78CB1522-CA30-6921-2195-7052F2F965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6997"/>
          <a:stretch/>
        </p:blipFill>
        <p:spPr>
          <a:xfrm>
            <a:off x="526630" y="2581524"/>
            <a:ext cx="6864691" cy="1065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4241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12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5</a:t>
            </a:fld>
            <a:endParaRPr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4C1FB03A-ADC3-DF37-A342-E199EAE711AB}"/>
              </a:ext>
            </a:extLst>
          </p:cNvPr>
          <p:cNvSpPr txBox="1"/>
          <p:nvPr/>
        </p:nvSpPr>
        <p:spPr>
          <a:xfrm>
            <a:off x="7055238" y="1012954"/>
            <a:ext cx="4962441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La terza parte della busta paga, mostra:</a:t>
            </a: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le </a:t>
            </a:r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competenze mese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: ripetono la retribuzione lorda contrattuale che spetta al dipendente, che coincide con ciò che viene riportato nella prima parte del cedolino (a meno che non si tratti di part-time, in cui l’importo viene ricalibrato);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Ferie godute o permessi: 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le voci qui riportate sono indicate in ore o in giorni e servono ad aggiornare i contatori dell’anno precedente e corrente;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Ticket elettronici: 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buoni pasto;</a:t>
            </a: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Dal calcolo delle voci presenti nel corpo del cedolino (differenza tra competenze e ritenute), si arriva al </a:t>
            </a:r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TOT. LORDO SOGG. CONTR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.; su quest’ultimo si calcolano i contributi dovuti all’INPS: il totale dei contributi dovuti è indicato alla voce </a:t>
            </a:r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Tot. </a:t>
            </a:r>
            <a:r>
              <a:rPr lang="it-IT" sz="1100" b="1" dirty="0" err="1">
                <a:latin typeface="Poppins" panose="00000500000000000000" pitchFamily="2" charset="0"/>
                <a:cs typeface="Poppins" panose="00000500000000000000" pitchFamily="2" charset="0"/>
              </a:rPr>
              <a:t>Rit</a:t>
            </a:r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. Sociali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;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Dalla differenza tra </a:t>
            </a:r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TOT. LORDO SOGG. CONTR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. e </a:t>
            </a:r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Tot. </a:t>
            </a:r>
            <a:r>
              <a:rPr lang="it-IT" sz="1100" b="1" dirty="0" err="1">
                <a:latin typeface="Poppins" panose="00000500000000000000" pitchFamily="2" charset="0"/>
                <a:cs typeface="Poppins" panose="00000500000000000000" pitchFamily="2" charset="0"/>
              </a:rPr>
              <a:t>Rit</a:t>
            </a:r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. Sociali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, si ottiene la base su cui calcolare l’imposta dovuta: l’</a:t>
            </a:r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imponibile fiscale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;</a:t>
            </a: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La parte </a:t>
            </a:r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IMPONIBILE INAIL 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è solo figurativa: i contributi sono dovuti solo dall’azienda, applicando all’importo ivi indicato una percentuale ad hoc, a titolo di premio assicurativo.</a:t>
            </a:r>
          </a:p>
        </p:txBody>
      </p:sp>
      <p:sp>
        <p:nvSpPr>
          <p:cNvPr id="2" name="Google Shape;214;p12">
            <a:extLst>
              <a:ext uri="{FF2B5EF4-FFF2-40B4-BE49-F238E27FC236}">
                <a16:creationId xmlns:a16="http://schemas.microsoft.com/office/drawing/2014/main" id="{42399F5D-A507-F8C7-5AF5-1CD6A28EC7E0}"/>
              </a:ext>
            </a:extLst>
          </p:cNvPr>
          <p:cNvSpPr txBox="1">
            <a:spLocks/>
          </p:cNvSpPr>
          <p:nvPr/>
        </p:nvSpPr>
        <p:spPr>
          <a:xfrm>
            <a:off x="161947" y="151181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buFont typeface="Arial"/>
              <a:buNone/>
            </a:pPr>
            <a:r>
              <a:rPr lang="it-IT" sz="2500" b="1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Quali elementi sono riportati nella terza parte della busta paga?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06772587-72BD-701E-CE04-0B16B661F43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802"/>
          <a:stretch/>
        </p:blipFill>
        <p:spPr>
          <a:xfrm>
            <a:off x="498094" y="831253"/>
            <a:ext cx="6407184" cy="5195494"/>
          </a:xfrm>
          <a:prstGeom prst="rect">
            <a:avLst/>
          </a:prstGeom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FFFAD919-BE4C-B9B4-CFB2-A5B5299FFCD4}"/>
              </a:ext>
            </a:extLst>
          </p:cNvPr>
          <p:cNvSpPr/>
          <p:nvPr/>
        </p:nvSpPr>
        <p:spPr>
          <a:xfrm>
            <a:off x="858741" y="1550504"/>
            <a:ext cx="4118776" cy="198783"/>
          </a:xfrm>
          <a:prstGeom prst="rect">
            <a:avLst/>
          </a:prstGeom>
          <a:noFill/>
          <a:ln>
            <a:solidFill>
              <a:srgbClr val="68C3C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ACAF0C35-5C94-89CC-91E9-A8C253D4459A}"/>
              </a:ext>
            </a:extLst>
          </p:cNvPr>
          <p:cNvSpPr/>
          <p:nvPr/>
        </p:nvSpPr>
        <p:spPr>
          <a:xfrm>
            <a:off x="858741" y="1827293"/>
            <a:ext cx="4118776" cy="198783"/>
          </a:xfrm>
          <a:prstGeom prst="rect">
            <a:avLst/>
          </a:prstGeom>
          <a:noFill/>
          <a:ln>
            <a:solidFill>
              <a:srgbClr val="68C3C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9BB3432A-24C1-9EDE-3F96-D2B81A96B8CC}"/>
              </a:ext>
            </a:extLst>
          </p:cNvPr>
          <p:cNvSpPr/>
          <p:nvPr/>
        </p:nvSpPr>
        <p:spPr>
          <a:xfrm>
            <a:off x="858741" y="3641698"/>
            <a:ext cx="4118776" cy="300654"/>
          </a:xfrm>
          <a:prstGeom prst="rect">
            <a:avLst/>
          </a:prstGeom>
          <a:noFill/>
          <a:ln>
            <a:solidFill>
              <a:srgbClr val="68C3C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923784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12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6</a:t>
            </a:fld>
            <a:endParaRPr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4C1FB03A-ADC3-DF37-A342-E199EAE711AB}"/>
              </a:ext>
            </a:extLst>
          </p:cNvPr>
          <p:cNvSpPr txBox="1"/>
          <p:nvPr/>
        </p:nvSpPr>
        <p:spPr>
          <a:xfrm>
            <a:off x="7051913" y="1243786"/>
            <a:ext cx="4962441" cy="318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Giunti all’imponibile fiscale, il calcolo delle imposte avviene applicandovi l’aliquota determinata dalla legge, in base alla fascia di reddito di appartenenza, ed ottenendo la </a:t>
            </a:r>
            <a:r>
              <a:rPr lang="it-IT" sz="1100" b="1" dirty="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it</a:t>
            </a:r>
            <a:r>
              <a:rPr lang="it-IT" sz="11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. </a:t>
            </a:r>
            <a:r>
              <a:rPr lang="it-IT" sz="1100" b="1" dirty="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is</a:t>
            </a:r>
            <a:r>
              <a:rPr lang="it-IT" sz="11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. Mese lorda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. Quest’ultima è lorda poiché devono essere ancora applicate le detrazioni da lavoro dipendente, sulla base dei giorni del mese e della fascia di reddito annuo presunto </a:t>
            </a:r>
            <a:r>
              <a:rPr lang="it-IT" sz="11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(Detrazioni fiscali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);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it-IT" sz="1100" b="1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Il reddito annuo presunto è rappresentato dalla voce </a:t>
            </a:r>
            <a:r>
              <a:rPr lang="it-IT" sz="11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mponibile </a:t>
            </a:r>
            <a:r>
              <a:rPr lang="it-IT" sz="1100" b="1" dirty="0" err="1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traz</a:t>
            </a:r>
            <a:r>
              <a:rPr lang="it-IT" sz="11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.;</a:t>
            </a:r>
            <a:endParaRPr lang="it-IT" sz="1100" dirty="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it-IT" sz="1100" dirty="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it-IT" sz="11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Le </a:t>
            </a:r>
            <a:r>
              <a:rPr lang="it-IT" sz="1100" b="1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ddizionali regionali e comunali </a:t>
            </a:r>
            <a:r>
              <a:rPr lang="it-IT" sz="11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ono dovute solo se è dovuta l’IRPEF. Le aliquote da applicare dipendono dalla Regione e dal Comune di residenza, che talvolta può anche non richiederle. Le addizionali vengono determinate in sede di conguaglio fiscale e vengono trattenute a rate l’anno successivo.</a:t>
            </a:r>
          </a:p>
          <a:p>
            <a:pPr algn="just"/>
            <a:endParaRPr lang="it-IT" sz="1100" dirty="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just"/>
            <a:endParaRPr lang="it-IT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Google Shape;214;p12">
            <a:extLst>
              <a:ext uri="{FF2B5EF4-FFF2-40B4-BE49-F238E27FC236}">
                <a16:creationId xmlns:a16="http://schemas.microsoft.com/office/drawing/2014/main" id="{42399F5D-A507-F8C7-5AF5-1CD6A28EC7E0}"/>
              </a:ext>
            </a:extLst>
          </p:cNvPr>
          <p:cNvSpPr txBox="1">
            <a:spLocks/>
          </p:cNvSpPr>
          <p:nvPr/>
        </p:nvSpPr>
        <p:spPr>
          <a:xfrm>
            <a:off x="161947" y="151181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buFont typeface="Arial"/>
              <a:buNone/>
            </a:pPr>
            <a:r>
              <a:rPr lang="it-IT" sz="2500" b="1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Quali elementi sono riportati nella terza parte della busta paga?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06772587-72BD-701E-CE04-0B16B661F43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802"/>
          <a:stretch/>
        </p:blipFill>
        <p:spPr>
          <a:xfrm>
            <a:off x="490143" y="848690"/>
            <a:ext cx="6407184" cy="5195494"/>
          </a:xfrm>
          <a:prstGeom prst="rect">
            <a:avLst/>
          </a:prstGeom>
        </p:spPr>
      </p:pic>
      <p:sp>
        <p:nvSpPr>
          <p:cNvPr id="3" name="Rettangolo 2">
            <a:extLst>
              <a:ext uri="{FF2B5EF4-FFF2-40B4-BE49-F238E27FC236}">
                <a16:creationId xmlns:a16="http://schemas.microsoft.com/office/drawing/2014/main" id="{0FB86828-38C7-090C-963E-57B1712DBFC2}"/>
              </a:ext>
            </a:extLst>
          </p:cNvPr>
          <p:cNvSpPr/>
          <p:nvPr/>
        </p:nvSpPr>
        <p:spPr>
          <a:xfrm>
            <a:off x="891872" y="4798433"/>
            <a:ext cx="4118776" cy="266728"/>
          </a:xfrm>
          <a:prstGeom prst="rect">
            <a:avLst/>
          </a:prstGeom>
          <a:noFill/>
          <a:ln>
            <a:solidFill>
              <a:srgbClr val="68C3C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91908A33-68D3-79FA-1F0D-08EA88D4E7A1}"/>
              </a:ext>
            </a:extLst>
          </p:cNvPr>
          <p:cNvSpPr/>
          <p:nvPr/>
        </p:nvSpPr>
        <p:spPr>
          <a:xfrm>
            <a:off x="891872" y="4202580"/>
            <a:ext cx="4118776" cy="343403"/>
          </a:xfrm>
          <a:prstGeom prst="rect">
            <a:avLst/>
          </a:prstGeom>
          <a:noFill/>
          <a:ln>
            <a:solidFill>
              <a:srgbClr val="68C3C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416024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FB842B73-A952-7BBC-CACE-40C3DD6AB9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7823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FB842B73-A952-7BBC-CACE-40C3DD6AB9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asellaDiTesto 6">
            <a:extLst>
              <a:ext uri="{FF2B5EF4-FFF2-40B4-BE49-F238E27FC236}">
                <a16:creationId xmlns:a16="http://schemas.microsoft.com/office/drawing/2014/main" id="{C6B65B4A-3464-D214-C7EC-602F445D3446}"/>
              </a:ext>
            </a:extLst>
          </p:cNvPr>
          <p:cNvSpPr txBox="1"/>
          <p:nvPr/>
        </p:nvSpPr>
        <p:spPr>
          <a:xfrm>
            <a:off x="7870465" y="5385480"/>
            <a:ext cx="4065161" cy="13887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4C1FB03A-ADC3-DF37-A342-E199EAE711AB}"/>
              </a:ext>
            </a:extLst>
          </p:cNvPr>
          <p:cNvSpPr txBox="1"/>
          <p:nvPr/>
        </p:nvSpPr>
        <p:spPr>
          <a:xfrm>
            <a:off x="7870466" y="782648"/>
            <a:ext cx="4065161" cy="5847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La </a:t>
            </a:r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quarta parte 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della busta paga, mostra :</a:t>
            </a: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Netto in busta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: è la tua retribuzione netta;</a:t>
            </a: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Ferie/Permessi spettanti: 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è un valore di riferimento che semplicemente ci informa sulle ferie e i permessi maturati nell’anno precedente, sommati a quelli maturati al mese di riferimento del cedolino;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it-IT" sz="1100" b="1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Ferie godute/Permessi goduti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: sono le ferie e i permessi cui hai già usufruito;</a:t>
            </a: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it-IT" sz="1100" b="1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erie residue/Permessi residui</a:t>
            </a:r>
            <a:r>
              <a:rPr lang="it-IT" sz="11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: 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sono le ferie e i permessi maturati di cui ancora non hai usufruito;</a:t>
            </a: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endParaRPr lang="it-IT" sz="1100" b="1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AP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 (anni precedenti): indica le ferie/permessi che fanno riferimento agli anni precedenti.</a:t>
            </a:r>
          </a:p>
          <a:p>
            <a:pPr algn="l"/>
            <a:endParaRPr lang="it-IT" sz="11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algn="l"/>
            <a:r>
              <a:rPr lang="it-IT" sz="1100" b="1" dirty="0">
                <a:latin typeface="Poppins" panose="00000500000000000000" pitchFamily="2" charset="0"/>
                <a:cs typeface="Poppins" panose="00000500000000000000" pitchFamily="2" charset="0"/>
              </a:rPr>
              <a:t>AC</a:t>
            </a:r>
            <a:r>
              <a:rPr lang="it-IT" sz="1100" dirty="0">
                <a:latin typeface="Poppins" panose="00000500000000000000" pitchFamily="2" charset="0"/>
                <a:cs typeface="Poppins" panose="00000500000000000000" pitchFamily="2" charset="0"/>
              </a:rPr>
              <a:t> (anno corrente): indica le ferie/permessi che fanno riferimento all’anno corrente.</a:t>
            </a:r>
          </a:p>
        </p:txBody>
      </p:sp>
      <p:sp>
        <p:nvSpPr>
          <p:cNvPr id="5" name="Google Shape;214;p12">
            <a:extLst>
              <a:ext uri="{FF2B5EF4-FFF2-40B4-BE49-F238E27FC236}">
                <a16:creationId xmlns:a16="http://schemas.microsoft.com/office/drawing/2014/main" id="{43727C2B-BBCB-CCE5-1A3A-9D31AEBEAEDF}"/>
              </a:ext>
            </a:extLst>
          </p:cNvPr>
          <p:cNvSpPr txBox="1">
            <a:spLocks/>
          </p:cNvSpPr>
          <p:nvPr/>
        </p:nvSpPr>
        <p:spPr>
          <a:xfrm>
            <a:off x="374206" y="151580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buFont typeface="Arial"/>
              <a:buNone/>
            </a:pPr>
            <a:r>
              <a:rPr lang="it-IT" sz="2500" b="1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Quali elementi sono riportati nella quarta parte della busta paga?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BA1A78E4-211A-90FB-5CE0-CDF3C67E73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7640" y="2064916"/>
            <a:ext cx="7197026" cy="2199287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B4716F88-E831-DBF1-A213-55F05F0F7C47}"/>
              </a:ext>
            </a:extLst>
          </p:cNvPr>
          <p:cNvSpPr/>
          <p:nvPr/>
        </p:nvSpPr>
        <p:spPr>
          <a:xfrm>
            <a:off x="256373" y="2908889"/>
            <a:ext cx="7376607" cy="882275"/>
          </a:xfrm>
          <a:prstGeom prst="rect">
            <a:avLst/>
          </a:prstGeom>
          <a:noFill/>
          <a:ln w="38100">
            <a:solidFill>
              <a:srgbClr val="68C3C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736833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41320690-BFC0-09A0-98DD-CF437A8931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7345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41320690-BFC0-09A0-98DD-CF437A8931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2" name="Google Shape;212;p12"/>
          <p:cNvSpPr txBox="1">
            <a:spLocks noGrp="1"/>
          </p:cNvSpPr>
          <p:nvPr>
            <p:ph type="title"/>
          </p:nvPr>
        </p:nvSpPr>
        <p:spPr>
          <a:xfrm>
            <a:off x="212035" y="404929"/>
            <a:ext cx="11802319" cy="858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200"/>
              <a:buFont typeface="Helvetica Neue"/>
              <a:buNone/>
            </a:pPr>
            <a:r>
              <a:rPr lang="it-IT" sz="4000" dirty="0">
                <a:solidFill>
                  <a:srgbClr val="68C3CC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FAQ Busta paga</a:t>
            </a:r>
            <a:endParaRPr sz="4000" dirty="0">
              <a:solidFill>
                <a:srgbClr val="68C3CC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sp>
        <p:nvSpPr>
          <p:cNvPr id="213" name="Google Shape;213;p12"/>
          <p:cNvSpPr txBox="1">
            <a:spLocks noGrp="1"/>
          </p:cNvSpPr>
          <p:nvPr>
            <p:ph type="sldNum" idx="12"/>
          </p:nvPr>
        </p:nvSpPr>
        <p:spPr>
          <a:xfrm>
            <a:off x="9271154" y="6421527"/>
            <a:ext cx="2743200" cy="280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>
                <a:latin typeface="Poppins" panose="00000500000000000000" pitchFamily="2" charset="0"/>
                <a:cs typeface="Poppins" panose="00000500000000000000" pitchFamily="2" charset="0"/>
              </a:rPr>
              <a:t>8</a:t>
            </a:fld>
            <a:endParaRPr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A6BADED0-2E0F-714E-7937-93ACB3EA33A9}"/>
              </a:ext>
            </a:extLst>
          </p:cNvPr>
          <p:cNvSpPr txBox="1"/>
          <p:nvPr/>
        </p:nvSpPr>
        <p:spPr>
          <a:xfrm>
            <a:off x="606279" y="3349607"/>
            <a:ext cx="11013827" cy="32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5000"/>
              </a:lnSpc>
            </a:pPr>
            <a:r>
              <a:rPr lang="sv-SE" dirty="0">
                <a:latin typeface="Poppins" panose="00000500000000000000" pitchFamily="2" charset="0"/>
                <a:cs typeface="Poppins" panose="00000500000000000000" pitchFamily="2" charset="0"/>
              </a:rPr>
              <a:t>Se dovessi avere ulteriori dubbi o domande scrivi al tuo HR di riferimento!</a:t>
            </a:r>
            <a:endParaRPr lang="it-IT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" name="Google Shape;214;p12">
            <a:extLst>
              <a:ext uri="{FF2B5EF4-FFF2-40B4-BE49-F238E27FC236}">
                <a16:creationId xmlns:a16="http://schemas.microsoft.com/office/drawing/2014/main" id="{5FFAB243-546A-0044-5D27-37658977E6B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64283" y="1185399"/>
            <a:ext cx="11697821" cy="520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</a:pPr>
            <a:r>
              <a:rPr lang="it-IT" sz="1800" b="1" i="1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Grazie per l’attenzione</a:t>
            </a:r>
            <a:endParaRPr lang="it-IT" sz="1800" b="1" i="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731503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">
  <a:themeElements>
    <a:clrScheme name="RETEX">
      <a:dk1>
        <a:srgbClr val="333333"/>
      </a:dk1>
      <a:lt1>
        <a:srgbClr val="FFFFFF"/>
      </a:lt1>
      <a:dk2>
        <a:srgbClr val="1C4586"/>
      </a:dk2>
      <a:lt2>
        <a:srgbClr val="E7E6E6"/>
      </a:lt2>
      <a:accent1>
        <a:srgbClr val="80E0A7"/>
      </a:accent1>
      <a:accent2>
        <a:srgbClr val="2CCCD3"/>
      </a:accent2>
      <a:accent3>
        <a:srgbClr val="4C9FC8"/>
      </a:accent3>
      <a:accent4>
        <a:srgbClr val="1C4586"/>
      </a:accent4>
      <a:accent5>
        <a:srgbClr val="9578D3"/>
      </a:accent5>
      <a:accent6>
        <a:srgbClr val="E1E868"/>
      </a:accent6>
      <a:hlink>
        <a:srgbClr val="2BD4C4"/>
      </a:hlink>
      <a:folHlink>
        <a:srgbClr val="9578D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">
  <a:themeElements>
    <a:clrScheme name="RETEX">
      <a:dk1>
        <a:srgbClr val="333333"/>
      </a:dk1>
      <a:lt1>
        <a:srgbClr val="FFFFFF"/>
      </a:lt1>
      <a:dk2>
        <a:srgbClr val="1C4586"/>
      </a:dk2>
      <a:lt2>
        <a:srgbClr val="E7E6E6"/>
      </a:lt2>
      <a:accent1>
        <a:srgbClr val="80E0A7"/>
      </a:accent1>
      <a:accent2>
        <a:srgbClr val="2CCCD3"/>
      </a:accent2>
      <a:accent3>
        <a:srgbClr val="4C9FC8"/>
      </a:accent3>
      <a:accent4>
        <a:srgbClr val="1C4586"/>
      </a:accent4>
      <a:accent5>
        <a:srgbClr val="9578D3"/>
      </a:accent5>
      <a:accent6>
        <a:srgbClr val="E1E868"/>
      </a:accent6>
      <a:hlink>
        <a:srgbClr val="2BD4C4"/>
      </a:hlink>
      <a:folHlink>
        <a:srgbClr val="9578D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1FAC6A0492A9B44A7F4E810A7C71CCA" ma:contentTypeVersion="14" ma:contentTypeDescription="Creare un nuovo documento." ma:contentTypeScope="" ma:versionID="ac7fa3f892b2ede0361161e2c1b583f0">
  <xsd:schema xmlns:xsd="http://www.w3.org/2001/XMLSchema" xmlns:xs="http://www.w3.org/2001/XMLSchema" xmlns:p="http://schemas.microsoft.com/office/2006/metadata/properties" xmlns:ns2="5ec9dc1f-7a1d-40f4-a75d-435257560b08" xmlns:ns3="a53e6eff-38bb-4151-86da-a930cce35181" targetNamespace="http://schemas.microsoft.com/office/2006/metadata/properties" ma:root="true" ma:fieldsID="95938cc26f69241f5e624883f2123664" ns2:_="" ns3:_="">
    <xsd:import namespace="5ec9dc1f-7a1d-40f4-a75d-435257560b08"/>
    <xsd:import namespace="a53e6eff-38bb-4151-86da-a930cce3518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c9dc1f-7a1d-40f4-a75d-435257560b0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285c3888-8698-4692-9a19-691e34d1425d}" ma:internalName="TaxCatchAll" ma:showField="CatchAllData" ma:web="5ec9dc1f-7a1d-40f4-a75d-435257560b0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3e6eff-38bb-4151-86da-a930cce351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Tag immagine" ma:readOnly="false" ma:fieldId="{5cf76f15-5ced-4ddc-b409-7134ff3c332f}" ma:taxonomyMulti="true" ma:sspId="47cac4b7-b69d-4a39-85a7-016965ba31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ec9dc1f-7a1d-40f4-a75d-435257560b08" xsi:nil="true"/>
    <lcf76f155ced4ddcb4097134ff3c332f xmlns="a53e6eff-38bb-4151-86da-a930cce3518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B786EA36-38BD-4CC4-ADFF-DA8C9871A634}"/>
</file>

<file path=customXml/itemProps2.xml><?xml version="1.0" encoding="utf-8"?>
<ds:datastoreItem xmlns:ds="http://schemas.openxmlformats.org/officeDocument/2006/customXml" ds:itemID="{30DF422F-8363-41F9-B280-FD43A5A0404E}"/>
</file>

<file path=customXml/itemProps3.xml><?xml version="1.0" encoding="utf-8"?>
<ds:datastoreItem xmlns:ds="http://schemas.openxmlformats.org/officeDocument/2006/customXml" ds:itemID="{BA8DD7F8-A0D2-4FBF-A414-917C62CBF253}"/>
</file>

<file path=docProps/app.xml><?xml version="1.0" encoding="utf-8"?>
<Properties xmlns="http://schemas.openxmlformats.org/officeDocument/2006/extended-properties" xmlns:vt="http://schemas.openxmlformats.org/officeDocument/2006/docPropsVTypes">
  <TotalTime>675</TotalTime>
  <Words>937</Words>
  <Application>Microsoft Office PowerPoint</Application>
  <PresentationFormat>Widescreen</PresentationFormat>
  <Paragraphs>94</Paragraphs>
  <Slides>8</Slides>
  <Notes>7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8</vt:i4>
      </vt:variant>
    </vt:vector>
  </HeadingPairs>
  <TitlesOfParts>
    <vt:vector size="16" baseType="lpstr">
      <vt:lpstr>Helvetica Neue</vt:lpstr>
      <vt:lpstr>Arial</vt:lpstr>
      <vt:lpstr>Calibri</vt:lpstr>
      <vt:lpstr>Sofia</vt:lpstr>
      <vt:lpstr>Poppins</vt:lpstr>
      <vt:lpstr>Cover</vt:lpstr>
      <vt:lpstr>Content</vt:lpstr>
      <vt:lpstr>Diapositiva think-cell</vt:lpstr>
      <vt:lpstr>FAQ  Busta paga   CCNL Metalmeccanica Industria 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FAQ Busta pag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1</dc:title>
  <dc:creator>Luca Meloni</dc:creator>
  <cp:lastModifiedBy>Marialuisa Pes</cp:lastModifiedBy>
  <cp:revision>5</cp:revision>
  <dcterms:created xsi:type="dcterms:W3CDTF">2022-10-05T13:11:29Z</dcterms:created>
  <dcterms:modified xsi:type="dcterms:W3CDTF">2023-06-29T07:5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FAC6A0492A9B44A7F4E810A7C71CCA</vt:lpwstr>
  </property>
  <property fmtid="{D5CDD505-2E9C-101B-9397-08002B2CF9AE}" pid="3" name="MediaServiceImageTags">
    <vt:lpwstr/>
  </property>
</Properties>
</file>